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2" r:id="rId2"/>
    <p:sldId id="297" r:id="rId3"/>
    <p:sldId id="261" r:id="rId4"/>
    <p:sldId id="342" r:id="rId5"/>
    <p:sldId id="263" r:id="rId6"/>
    <p:sldId id="387" r:id="rId7"/>
    <p:sldId id="388" r:id="rId8"/>
    <p:sldId id="390" r:id="rId9"/>
    <p:sldId id="320" r:id="rId10"/>
    <p:sldId id="321" r:id="rId11"/>
    <p:sldId id="326" r:id="rId12"/>
    <p:sldId id="328" r:id="rId13"/>
    <p:sldId id="327" r:id="rId14"/>
    <p:sldId id="330" r:id="rId15"/>
    <p:sldId id="332" r:id="rId16"/>
    <p:sldId id="333" r:id="rId17"/>
    <p:sldId id="334" r:id="rId18"/>
    <p:sldId id="335" r:id="rId19"/>
    <p:sldId id="322" r:id="rId20"/>
    <p:sldId id="323" r:id="rId21"/>
    <p:sldId id="338" r:id="rId22"/>
    <p:sldId id="353" r:id="rId23"/>
    <p:sldId id="375" r:id="rId24"/>
    <p:sldId id="351" r:id="rId25"/>
    <p:sldId id="356" r:id="rId26"/>
    <p:sldId id="363" r:id="rId27"/>
    <p:sldId id="381" r:id="rId28"/>
    <p:sldId id="380" r:id="rId29"/>
    <p:sldId id="352" r:id="rId30"/>
    <p:sldId id="357" r:id="rId31"/>
    <p:sldId id="359" r:id="rId32"/>
    <p:sldId id="358" r:id="rId33"/>
    <p:sldId id="364" r:id="rId34"/>
    <p:sldId id="376" r:id="rId35"/>
    <p:sldId id="382" r:id="rId36"/>
    <p:sldId id="367" r:id="rId37"/>
    <p:sldId id="366" r:id="rId38"/>
    <p:sldId id="368" r:id="rId39"/>
    <p:sldId id="365" r:id="rId40"/>
    <p:sldId id="386" r:id="rId41"/>
    <p:sldId id="385" r:id="rId42"/>
    <p:sldId id="369" r:id="rId43"/>
    <p:sldId id="372" r:id="rId44"/>
    <p:sldId id="370" r:id="rId45"/>
    <p:sldId id="361" r:id="rId46"/>
    <p:sldId id="384" r:id="rId47"/>
    <p:sldId id="373" r:id="rId48"/>
    <p:sldId id="374" r:id="rId49"/>
    <p:sldId id="337" r:id="rId50"/>
    <p:sldId id="336" r:id="rId51"/>
    <p:sldId id="354" r:id="rId52"/>
    <p:sldId id="340" r:id="rId53"/>
    <p:sldId id="393" r:id="rId54"/>
    <p:sldId id="391" r:id="rId55"/>
    <p:sldId id="392" r:id="rId56"/>
    <p:sldId id="394" r:id="rId57"/>
    <p:sldId id="395" r:id="rId58"/>
    <p:sldId id="325" r:id="rId59"/>
    <p:sldId id="296" r:id="rId60"/>
  </p:sldIdLst>
  <p:sldSz cx="12192000" cy="6858000"/>
  <p:notesSz cx="6858000" cy="9144000"/>
  <p:custDataLst>
    <p:tags r:id="rId6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hrlich, Ina" initials="EI" lastIdx="14" clrIdx="0">
    <p:extLst>
      <p:ext uri="{19B8F6BF-5375-455C-9EA6-DF929625EA0E}">
        <p15:presenceInfo xmlns:p15="http://schemas.microsoft.com/office/powerpoint/2012/main" userId="Ehrlich, I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9C2"/>
    <a:srgbClr val="323232"/>
    <a:srgbClr val="383838"/>
    <a:srgbClr val="363636"/>
    <a:srgbClr val="007FC2"/>
    <a:srgbClr val="558AC3"/>
    <a:srgbClr val="003568"/>
    <a:srgbClr val="335020"/>
    <a:srgbClr val="99CA72"/>
    <a:srgbClr val="5A8C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70" autoAdjust="0"/>
    <p:restoredTop sz="94660"/>
  </p:normalViewPr>
  <p:slideViewPr>
    <p:cSldViewPr snapToGrid="0">
      <p:cViewPr varScale="1">
        <p:scale>
          <a:sx n="63" d="100"/>
          <a:sy n="63" d="100"/>
        </p:scale>
        <p:origin x="6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403E99-4591-41C9-92C8-BEAF389DE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8E77AE1-7136-4CFB-9158-ED918CF65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70833B-DA08-4993-B124-9199BC8C5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551B38-33C7-487F-A7AA-3C92C3ADC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29F1F7-72FF-4813-A500-DF3CCF5F6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2865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714923-6A76-4E80-840A-80475A92B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6BDBF10-BE7C-4AC5-A92A-62119835E2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ADF423-8D45-4EFA-A250-48F84B6D1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C15E0-5C6A-4F6F-932C-74A09525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6EE511-27EA-4B99-BB9F-EB135660B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9951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44B92D0-8C58-43EB-A18C-386A25E5CB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8EA6E19-2467-450C-A4FC-026F1C4CC0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A6B91EB-8454-43B9-A378-1C8968365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F0DA7F-A248-4DA4-A93B-55CDE976C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2738A4-EC3C-4EC0-B3D5-E094FB379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6091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892F8A-1548-4F4D-9C24-4FA696916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F5E8B1-68FC-410D-BDD0-87A8D02818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708FC1-FF85-44E3-A19D-57990E3A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9EFE42-566A-43E7-B00E-8352D90D1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126515-7034-4398-B7B5-A753C7549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3424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ACF287-6A17-46D6-83DA-5F6F906D4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5234EB-F524-407A-A6EB-C8A0A7E746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66C77D-A2C9-4C2D-9A72-1105013BD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A9928FF-E4C1-4F1D-9934-A265E16D3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5E2865-0CD7-4674-AAFC-C9B66B3CB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1080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03842A-F667-4333-9AF1-C44F82EA1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A17D59-DADD-4E22-8466-004F343ACF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F4D8D0D-011F-468B-B046-F365256791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09BB228-774B-49E6-9341-98107C47E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4A51F3B-A164-4923-BFCD-9FE014851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ADF5BF-5DF4-4D69-94BB-22542C721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02408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AB9E51-FC4D-4F08-AFE8-07C707F7B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1F8E5-C226-4C1C-91FF-9A04460B39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1E094A7-EE85-4CBF-8ECC-D77A160197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D1605E8-35B2-4BCA-BDA9-8E74191C4C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EF9DEEB-DE66-4EB1-91A6-9FA3BCC8AB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5A3091E-904C-4F55-B940-C38B2F5DC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018E868-BAC1-4DBA-A599-E7A952DEC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64EBA72-809A-4677-938F-AF15880A0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282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FEFCA-A245-4360-8511-6C10C081F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D43BC6-1F08-43B4-A101-DFBD65A97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374B97-D088-4929-9C30-459244079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3786AA-4B6D-4679-94CD-535F0D2DC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41696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97D839A-B861-453A-8002-C27BD0204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5AFB3B-9A7B-4CAC-BFF2-3EDAF0CE1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286326-F77A-4E80-8305-599D92D62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2943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E2D9E5-5768-47A6-9734-7C47F4321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F75017-2FDB-4E24-950F-12390F1119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9759970-1645-46F9-9A31-4595048D0C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3BE9F7-7CAC-4A66-AE6F-3EA20B9F3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0DFA590-2D28-4D7B-909D-2A6097E62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27980-EF7B-49C5-9273-8C0847C0C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181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25EE34-7185-4F8A-9FA5-C2106387D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5B7FAC9-59E8-46D7-ABE7-85267BC11F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84A45D-79CF-430B-BCFC-AC4ABD5E2E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5C60C1F-8C61-4600-A41E-A311D159C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C4B6B-29D5-4284-AA4A-319C0484651B}" type="datetimeFigureOut">
              <a:rPr lang="de-DE" smtClean="0"/>
              <a:t>29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96DEBE-5D6E-451D-A719-449862760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78D0733-983A-4DEF-B389-B0261157A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E14DF-C801-4B58-9FDF-DA0E610D4D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9355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6412A10-FAED-4A7E-9410-989EE9492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49A0AF-3FD4-4BBD-A2BE-EC7AB4DBCC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3B6697-E02D-49A8-BEE2-B1A9AF820B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undesSans Medium" panose="020B0002030500000203" pitchFamily="34" charset="0"/>
              </a:defRPr>
            </a:lvl1pPr>
          </a:lstStyle>
          <a:p>
            <a:fld id="{D2DC4B6B-29D5-4284-AA4A-319C0484651B}" type="datetimeFigureOut">
              <a:rPr lang="de-DE" smtClean="0"/>
              <a:pPr/>
              <a:t>29.09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745686A-16DB-427D-8719-42D0E9761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undesSans Medium" panose="020B000203050000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13F70F-C867-4335-8C0C-8E56E736B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undesSans Medium" panose="020B0002030500000203" pitchFamily="34" charset="0"/>
              </a:defRPr>
            </a:lvl1pPr>
          </a:lstStyle>
          <a:p>
            <a:fld id="{B8CE14DF-C801-4B58-9FDF-DA0E610D4D5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8949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undesSans Medium" panose="020B000203050000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undesSans Medium" panose="020B000203050000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undesSans Medium" panose="020B000203050000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undesSans Medium" panose="020B000203050000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undesSans Medium" panose="020B000203050000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undesSans Medium" panose="020B000203050000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sv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6.svg"/><Relationship Id="rId7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.svg"/><Relationship Id="rId7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4.sv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sv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.svg"/><Relationship Id="rId7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mailto:service-center@bsi.bund.de" TargetMode="External"/><Relationship Id="rId3" Type="http://schemas.openxmlformats.org/officeDocument/2006/relationships/image" Target="../media/image4.svg"/><Relationship Id="rId7" Type="http://schemas.openxmlformats.org/officeDocument/2006/relationships/hyperlink" Target="mailto:support@ausweisapp.de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webinare@ausweisapp.de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1369A8-9478-416C-B9E3-E738B85128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42" r="3677"/>
          <a:stretch/>
        </p:blipFill>
        <p:spPr>
          <a:xfrm>
            <a:off x="203200" y="441728"/>
            <a:ext cx="11785600" cy="6233392"/>
          </a:xfrm>
          <a:prstGeom prst="roundRect">
            <a:avLst>
              <a:gd name="adj" fmla="val 4265"/>
            </a:avLst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4A6D6333-AEA1-3303-4B95-1F6DAC959055}"/>
              </a:ext>
            </a:extLst>
          </p:cNvPr>
          <p:cNvSpPr/>
          <p:nvPr/>
        </p:nvSpPr>
        <p:spPr>
          <a:xfrm>
            <a:off x="927100" y="5213823"/>
            <a:ext cx="3683000" cy="1637355"/>
          </a:xfrm>
          <a:prstGeom prst="roundRect">
            <a:avLst>
              <a:gd name="adj" fmla="val 84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D8D4BDE-F12D-1B4D-14B1-522F5B068460}"/>
              </a:ext>
            </a:extLst>
          </p:cNvPr>
          <p:cNvSpPr txBox="1"/>
          <p:nvPr/>
        </p:nvSpPr>
        <p:spPr>
          <a:xfrm>
            <a:off x="1069417" y="5287410"/>
            <a:ext cx="34767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5489C2"/>
                </a:solidFill>
                <a:latin typeface="BundesSans Bold" panose="020B0002030500000203" pitchFamily="34" charset="0"/>
              </a:rPr>
              <a:t>Willkommen </a:t>
            </a:r>
          </a:p>
          <a:p>
            <a:r>
              <a:rPr lang="de-DE" sz="4000" dirty="0">
                <a:solidFill>
                  <a:srgbClr val="5489C2"/>
                </a:solidFill>
                <a:latin typeface="BundesSans Bold" panose="020B0002030500000203" pitchFamily="34" charset="0"/>
              </a:rPr>
              <a:t>zum Webinar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29EE1FD-F55A-2629-121A-0431436575C9}"/>
              </a:ext>
            </a:extLst>
          </p:cNvPr>
          <p:cNvSpPr/>
          <p:nvPr/>
        </p:nvSpPr>
        <p:spPr>
          <a:xfrm>
            <a:off x="8394700" y="265670"/>
            <a:ext cx="3149600" cy="1067829"/>
          </a:xfrm>
          <a:prstGeom prst="roundRect">
            <a:avLst>
              <a:gd name="adj" fmla="val 84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668D21-ECEF-D4B5-BABB-1C16DA7166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411" y="437627"/>
            <a:ext cx="2723989" cy="69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2898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98839" y="-1754586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02416" y="1223476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Nutzende versteh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5546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012698" y="-5183587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95768" y="4725001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25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Nutzende versteh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Bewertungen 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rtests, Interview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Support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279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0882" y="-5491839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0130" y="4356584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Probleme definier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50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88402" y="-4559531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589240" y="3618356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Probleme definier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Schwierigkeiten bei Geräte-Kopplung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Unverständlichkeiten bzgl. PINs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Unklarheiten über Zweck der AusweisAp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1501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9" y="-2053939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211506" y="1811304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dirty="0">
                <a:latin typeface="BundesSans Medium" panose="020B0002030500000203" pitchFamily="34" charset="0"/>
              </a:rPr>
              <a:t> Probleme definier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Ideat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Problemlösendes Konzept entwickel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03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37" y="-30479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419570" y="-1407912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25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dirty="0">
                <a:latin typeface="BundesSans Medium" panose="020B0002030500000203" pitchFamily="34" charset="0"/>
              </a:rPr>
              <a:t> Probleme definier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Ideate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</a:t>
            </a:r>
            <a:r>
              <a:rPr lang="de-DE" sz="2400" dirty="0">
                <a:latin typeface="BundesSans Medium" panose="020B0002030500000203" pitchFamily="34" charset="0"/>
              </a:rPr>
              <a:t>Problemlösendes Konzept entwickel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Onboarding (</a:t>
            </a:r>
            <a:r>
              <a:rPr lang="de-DE" sz="2400" dirty="0" err="1">
                <a:latin typeface="BundesSans Medium" panose="020B0002030500000203" pitchFamily="34" charset="0"/>
              </a:rPr>
              <a:t>Guided</a:t>
            </a:r>
            <a:r>
              <a:rPr lang="de-DE" sz="2400" dirty="0">
                <a:latin typeface="BundesSans Medium" panose="020B0002030500000203" pitchFamily="34" charset="0"/>
              </a:rPr>
              <a:t> Tour)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0168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12844" y="3611251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517541" y="-3969010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25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dirty="0">
                <a:latin typeface="BundesSans Medium" panose="020B0002030500000203" pitchFamily="34" charset="0"/>
              </a:rPr>
              <a:t> Probleme definier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Ideate</a:t>
            </a:r>
            <a:r>
              <a:rPr lang="de-DE" sz="2400" dirty="0">
                <a:latin typeface="BundesSans Medium" panose="020B0002030500000203" pitchFamily="34" charset="0"/>
              </a:rPr>
              <a:t> Problemlösendes Konzept entwickel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totype </a:t>
            </a:r>
            <a:r>
              <a:rPr lang="de-DE" sz="2400" dirty="0">
                <a:latin typeface="BundesSans Medium" panose="020B0002030500000203" pitchFamily="34" charset="0"/>
              </a:rPr>
              <a:t>Klickbaren Prototypen erstell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3324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9158" y="5054427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211005" y="-5496002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dirty="0">
                <a:latin typeface="BundesSans Medium" panose="020B0002030500000203" pitchFamily="34" charset="0"/>
              </a:rPr>
              <a:t> Probleme definier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Ideate</a:t>
            </a:r>
            <a:r>
              <a:rPr lang="de-DE" sz="2400" dirty="0">
                <a:latin typeface="BundesSans Medium" panose="020B0002030500000203" pitchFamily="34" charset="0"/>
              </a:rPr>
              <a:t> Problemlösendes Konzept entwickeln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totype</a:t>
            </a:r>
            <a:r>
              <a:rPr lang="de-DE" sz="2400" dirty="0">
                <a:latin typeface="BundesSans Medium" panose="020B0002030500000203" pitchFamily="34" charset="0"/>
              </a:rPr>
              <a:t> Klickbaren Prototypen erstell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Test </a:t>
            </a:r>
            <a:r>
              <a:rPr lang="de-DE" sz="2400" dirty="0">
                <a:latin typeface="BundesSans Medium" panose="020B0002030500000203" pitchFamily="34" charset="0"/>
              </a:rPr>
              <a:t>Konzept anhand von (Usability) Tests prüf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00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77913" y="503809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36551" y="-6001917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Empathize</a:t>
            </a:r>
            <a:r>
              <a:rPr lang="de-DE" sz="2400" dirty="0">
                <a:latin typeface="BundesSans Medium" panose="020B0002030500000203" pitchFamily="34" charset="0"/>
              </a:rPr>
              <a:t> Nutzende versteh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Define</a:t>
            </a:r>
            <a:r>
              <a:rPr lang="de-DE" sz="2400" dirty="0">
                <a:latin typeface="BundesSans Medium" panose="020B0002030500000203" pitchFamily="34" charset="0"/>
              </a:rPr>
              <a:t> Probleme definieren</a:t>
            </a:r>
          </a:p>
          <a:p>
            <a:pPr lvl="1">
              <a:lnSpc>
                <a:spcPct val="150000"/>
              </a:lnSpc>
            </a:pPr>
            <a:r>
              <a:rPr lang="de-DE" sz="2400" b="1" dirty="0" err="1">
                <a:solidFill>
                  <a:srgbClr val="335020"/>
                </a:solidFill>
                <a:latin typeface="BundesSans Medium" panose="020B0002030500000203" pitchFamily="34" charset="0"/>
              </a:rPr>
              <a:t>Ideate</a:t>
            </a:r>
            <a:r>
              <a:rPr lang="de-DE" sz="2400" dirty="0">
                <a:latin typeface="BundesSans Medium" panose="020B0002030500000203" pitchFamily="34" charset="0"/>
              </a:rPr>
              <a:t> Problemlösendes Konzept entwickeln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totype</a:t>
            </a:r>
            <a:r>
              <a:rPr lang="de-DE" sz="2400" dirty="0">
                <a:latin typeface="BundesSans Medium" panose="020B0002030500000203" pitchFamily="34" charset="0"/>
              </a:rPr>
              <a:t> Klickbaren Prototypen erstellen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Test</a:t>
            </a:r>
            <a:r>
              <a:rPr lang="de-DE" sz="2400" dirty="0">
                <a:latin typeface="BundesSans Medium" panose="020B0002030500000203" pitchFamily="34" charset="0"/>
              </a:rPr>
              <a:t> Konzept anhand von (Usability) Tests prüfen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de-DE" sz="2400" i="1" dirty="0">
                <a:latin typeface="BundesSans Medium" panose="020B0002030500000203" pitchFamily="34" charset="0"/>
              </a:rPr>
              <a:t>Hinweis: Der Designprozess ist iterativ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7755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91903" y="-3863610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052230" y="3124202"/>
            <a:ext cx="7467595" cy="746759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ED313A09-B9F7-4454-B1C9-6B419C7FD5E8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 err="1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Guided</a:t>
            </a:r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 Tour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002D49B-4DFB-42BE-8C13-1EA27F28E22D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:</a:t>
            </a:r>
          </a:p>
        </p:txBody>
      </p:sp>
    </p:spTree>
    <p:extLst>
      <p:ext uri="{BB962C8B-B14F-4D97-AF65-F5344CB8AC3E}">
        <p14:creationId xmlns:p14="http://schemas.microsoft.com/office/powerpoint/2010/main" val="3384706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9B7636F0-A4BC-442F-91CE-EB3DFA26B9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439476" y="4851300"/>
            <a:ext cx="7580261" cy="758026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29DC863-08AB-4EB3-85E3-0828CB7640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0478" y="-5490788"/>
            <a:ext cx="7467595" cy="7467595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31FD3EB0-73BA-47F9-9FC4-F44FD5EF60B2}"/>
              </a:ext>
            </a:extLst>
          </p:cNvPr>
          <p:cNvSpPr txBox="1"/>
          <p:nvPr/>
        </p:nvSpPr>
        <p:spPr>
          <a:xfrm>
            <a:off x="1274202" y="2306058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Neues Onboarding </a:t>
            </a: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AusweisApp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EA55313-1EF5-4DDE-834B-073EBAC1D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91" y="648122"/>
            <a:ext cx="2723989" cy="691237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9827C08-8840-4813-9B64-6F2797EBD23B}"/>
              </a:ext>
            </a:extLst>
          </p:cNvPr>
          <p:cNvSpPr txBox="1"/>
          <p:nvPr/>
        </p:nvSpPr>
        <p:spPr>
          <a:xfrm>
            <a:off x="1350449" y="3871066"/>
            <a:ext cx="7518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d wie es Ihnen als Diensteanbieter hilft.</a:t>
            </a:r>
            <a:endParaRPr lang="de-DE" sz="2400" dirty="0">
              <a:latin typeface="BundesSans Medium" panose="020B0002030500000203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DF5581D-19FA-4699-A954-5890C73881F6}"/>
              </a:ext>
            </a:extLst>
          </p:cNvPr>
          <p:cNvGrpSpPr/>
          <p:nvPr/>
        </p:nvGrpSpPr>
        <p:grpSpPr>
          <a:xfrm>
            <a:off x="7984275" y="1483287"/>
            <a:ext cx="6613353" cy="3891425"/>
            <a:chOff x="2048781" y="1047538"/>
            <a:chExt cx="8094438" cy="4762924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B0ED3A89-DCED-47E4-BA75-3376A6EEB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A36AB6A2-437F-493D-AB9D-3DDA2B06CD9C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F90020C9-854D-47BC-A241-AA201FDAC8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0124" y="2124497"/>
            <a:ext cx="1721122" cy="337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9681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106963" y="115189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74252" y="-3781449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Was ist das?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Interaktive Schritt-für-Schritt (An-)Leitung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Komplexe Abläufe werden auf einzelne, verständlichere Aufgaben reduzier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Fokus kann gezielt auf bestimmte Funktionalitäten gerichtet werd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 err="1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Guided</a:t>
            </a:r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 Tou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664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73768" y="-230504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380264" y="-1928675"/>
            <a:ext cx="7467595" cy="746759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43D8A2B-337D-48C7-ACDE-190C0A91C9EB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852FABE-CCF0-4821-83B9-2BA4579EAB75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:</a:t>
            </a:r>
          </a:p>
        </p:txBody>
      </p:sp>
    </p:spTree>
    <p:extLst>
      <p:ext uri="{BB962C8B-B14F-4D97-AF65-F5344CB8AC3E}">
        <p14:creationId xmlns:p14="http://schemas.microsoft.com/office/powerpoint/2010/main" val="109799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314805" y="-4794264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47144" y="2978849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Einleit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1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232" y="-5216862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20243" y="4776161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was sie für die Online-Ausweisfunktion benötige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Lösung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Initiale Übersicht bereitstellen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400" dirty="0"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471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1BF8101-BFB5-4804-9F83-D389719B1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5196" y="-7536574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F53878C-32CF-4C7D-90D4-57C7A23E86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02771" y="6926979"/>
            <a:ext cx="7580261" cy="7580261"/>
          </a:xfrm>
          <a:prstGeom prst="rect">
            <a:avLst/>
          </a:prstGeom>
        </p:spPr>
      </p:pic>
      <p:grpSp>
        <p:nvGrpSpPr>
          <p:cNvPr id="5" name="!!Gruppieren 5">
            <a:extLst>
              <a:ext uri="{FF2B5EF4-FFF2-40B4-BE49-F238E27FC236}">
                <a16:creationId xmlns:a16="http://schemas.microsoft.com/office/drawing/2014/main" id="{5766D06C-BA2D-4970-80A7-F28E1A76510F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D1962BA-396C-447A-82BE-26B16F121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D587AFA-8686-4671-9678-8031EE397196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F033DED-F683-4726-A088-D47CA41823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775" y="1674317"/>
            <a:ext cx="2106574" cy="4136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836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D72241D3-B7D1-4600-8C28-DD66FF928A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192000" y="-4596376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582FC21-E4B1-432C-A3A5-D8CFB7C7A2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7580261" y="4196496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!!Gruppieren 5">
            <a:extLst>
              <a:ext uri="{FF2B5EF4-FFF2-40B4-BE49-F238E27FC236}">
                <a16:creationId xmlns:a16="http://schemas.microsoft.com/office/drawing/2014/main" id="{BF301169-939C-404D-AE64-7EB354F9F434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24EEFAB9-08A1-4E92-9262-B40BEA0C8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AD37207-D2FC-4989-8E97-A266AE3EA241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3360739"/>
      </p:ext>
    </p:extLst>
  </p:cSld>
  <p:clrMapOvr>
    <a:masterClrMapping/>
  </p:clrMapOvr>
  <p:transition spd="slow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8202" y="1494799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293148" y="-1470738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Einleitung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3 Schritte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Smartphone oder Kartenleser einrichten</a:t>
            </a:r>
            <a:endParaRPr lang="de-DE" sz="2400" dirty="0">
              <a:latin typeface="BundesSans Medium" panose="020B0002030500000203" pitchFamily="34" charset="0"/>
            </a:endParaRP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Ausweis ausles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PIN einricht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113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2484" y="503809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37777" y="-5120174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wie sie die Kopplung eines Smartphones durchführen könne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b="1" dirty="0">
              <a:solidFill>
                <a:srgbClr val="335020"/>
              </a:solidFill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Begleitung durch die Geräte-Kopplung und weiterführende Hilfe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64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34913" y="4858484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276" y="-5496002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dass sie die Kopplung eines Smartphones nur einmal vornehmen müsse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Hinweis zur Verwendung nach erfolgreicher Kopplung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5005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AA6B9FC-8047-43CE-B8B7-C89C951CA1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08491" y="6926979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D83EC93-7E42-4EC5-8CA2-CEF7EAAF56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58441" y="-7649240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FCD4974-F1EF-4C4F-93D0-4DC1A20DA2CB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EE5FF01-0816-4AF8-989B-B129682AE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757C8D7-BAE0-4FEF-9A23-788C06F724AF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52090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1725100-705F-4092-93B1-DEE02CFD6A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05119" y="3067869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CFF6392-76DD-489B-9FE2-F74D429CC1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01579" y="-4038595"/>
            <a:ext cx="7467595" cy="746759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3B20F59-983C-4027-B6C0-1967F6EB7D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8365"/>
            <a:ext cx="1555589" cy="39474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EC43521-1C43-4115-8535-C95DC72A54B9}"/>
              </a:ext>
            </a:extLst>
          </p:cNvPr>
          <p:cNvSpPr txBox="1"/>
          <p:nvPr/>
        </p:nvSpPr>
        <p:spPr>
          <a:xfrm>
            <a:off x="3257496" y="3904737"/>
            <a:ext cx="567700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Nadja Krüger</a:t>
            </a:r>
          </a:p>
          <a:p>
            <a:r>
              <a:rPr lang="de-DE" sz="2400" dirty="0">
                <a:solidFill>
                  <a:srgbClr val="004377"/>
                </a:solidFill>
                <a:latin typeface="BundesSans Medium" panose="020B0002030500000203" pitchFamily="34" charset="0"/>
              </a:rPr>
              <a:t>UX-/UI-Designerin</a:t>
            </a:r>
            <a:br>
              <a:rPr lang="de-DE" sz="2400" dirty="0">
                <a:solidFill>
                  <a:srgbClr val="004377"/>
                </a:solidFill>
                <a:latin typeface="BundesSans Medium" panose="020B0002030500000203" pitchFamily="34" charset="0"/>
              </a:rPr>
            </a:br>
            <a:r>
              <a:rPr lang="de-DE" sz="2400" dirty="0">
                <a:solidFill>
                  <a:srgbClr val="004377"/>
                </a:solidFill>
                <a:latin typeface="BundesSans Medium" panose="020B0002030500000203" pitchFamily="34" charset="0"/>
              </a:rPr>
              <a:t>AusweisApp bei </a:t>
            </a:r>
            <a:r>
              <a:rPr lang="de-DE" sz="2400" dirty="0" err="1">
                <a:solidFill>
                  <a:srgbClr val="004377"/>
                </a:solidFill>
                <a:latin typeface="BundesSans Medium" panose="020B0002030500000203" pitchFamily="34" charset="0"/>
              </a:rPr>
              <a:t>Governikus</a:t>
            </a:r>
            <a:endParaRPr lang="de-DE" sz="2400" dirty="0">
              <a:solidFill>
                <a:srgbClr val="004377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0914F8B-8CFF-4970-A918-5555E524B263}"/>
              </a:ext>
            </a:extLst>
          </p:cNvPr>
          <p:cNvSpPr txBox="1"/>
          <p:nvPr/>
        </p:nvSpPr>
        <p:spPr>
          <a:xfrm>
            <a:off x="418993" y="370229"/>
            <a:ext cx="7728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as sind die Speak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6743A4C-3355-459B-8CF6-EF81C5024F61}"/>
              </a:ext>
            </a:extLst>
          </p:cNvPr>
          <p:cNvSpPr txBox="1"/>
          <p:nvPr/>
        </p:nvSpPr>
        <p:spPr>
          <a:xfrm>
            <a:off x="2575142" y="1974951"/>
            <a:ext cx="567700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5489C2"/>
                </a:solidFill>
                <a:effectLst/>
                <a:uLnTx/>
                <a:uFillTx/>
                <a:latin typeface="BundesSans Bold" panose="020B0002030500000203" pitchFamily="34" charset="0"/>
                <a:ea typeface="Cambria" panose="02040503050406030204" pitchFamily="18" charset="0"/>
                <a:cs typeface="+mn-cs"/>
              </a:rPr>
              <a:t>Dr. Niels Rä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4377"/>
                </a:solidFill>
                <a:effectLst/>
                <a:uLnTx/>
                <a:uFillTx/>
                <a:latin typeface="BundesSans Medium" panose="020B0002030500000203" pitchFamily="34" charset="0"/>
                <a:ea typeface="+mn-ea"/>
                <a:cs typeface="+mn-cs"/>
              </a:rPr>
              <a:t>Projektleitung AusweisApp, Bundesamt </a:t>
            </a:r>
            <a:b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4377"/>
                </a:solidFill>
                <a:effectLst/>
                <a:uLnTx/>
                <a:uFillTx/>
                <a:latin typeface="BundesSans Medium" panose="020B0002030500000203" pitchFamily="34" charset="0"/>
                <a:ea typeface="+mn-ea"/>
                <a:cs typeface="+mn-cs"/>
              </a:rPr>
            </a:b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4377"/>
                </a:solidFill>
                <a:effectLst/>
                <a:uLnTx/>
                <a:uFillTx/>
                <a:latin typeface="BundesSans Medium" panose="020B0002030500000203" pitchFamily="34" charset="0"/>
                <a:ea typeface="+mn-ea"/>
                <a:cs typeface="+mn-cs"/>
              </a:rPr>
              <a:t>für Sicherheit in der Informationstechnik</a:t>
            </a:r>
          </a:p>
        </p:txBody>
      </p:sp>
    </p:spTree>
    <p:extLst>
      <p:ext uri="{BB962C8B-B14F-4D97-AF65-F5344CB8AC3E}">
        <p14:creationId xmlns:p14="http://schemas.microsoft.com/office/powerpoint/2010/main" val="3849101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DF1F4CF-C535-44B1-9A09-ACB5078DC9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467595" y="3274613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E3FD7E3-59B6-4E1D-AADF-65EE21A871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4446773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4BE54FA-D13B-4788-8A4E-6E9F186D065F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9E8F7DA-3E6E-4CED-A57B-BE8768A7C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07B611F-C019-448B-9DF7-C262F53BBBD1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7565420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DFB0BF8-7878-4FAD-9C13-0E9A4BF02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490914" y="2635923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A2AE49D-9A71-458F-A494-A804DF53C1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3605851"/>
            <a:ext cx="7580261" cy="7580261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30713AC-2D23-404C-9FA4-81D568AAF5CF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0263CE6E-2D22-421A-8B91-D21F3DC28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A4B301B-4B6C-462D-BB9E-3B6A787BEE9A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F582B1E-898D-40BB-8CCE-AB5DC13C3B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775" y="1674317"/>
            <a:ext cx="2106573" cy="4136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44539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2823E802-58B7-4959-A411-45BE75619C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558392" y="554030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A3B0379-526B-4966-B2C7-FD06EFCC62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1850530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60659A0-3CF6-438E-A913-7C0C3A5FC364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70FBC8D-72CA-435A-AE73-538307376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D2F815F-B33D-4F80-A7D6-08FC4B32D2EB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5770041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637641" y="-2081159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1869" y="184840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Einleitung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3 Schritte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Smartphone oder Kartenleser einricht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Ausweis auslesen</a:t>
            </a:r>
            <a:endParaRPr lang="de-DE" sz="2400" dirty="0">
              <a:latin typeface="BundesSans Medium" panose="020B0002030500000203" pitchFamily="34" charset="0"/>
            </a:endParaRP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PIN einricht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924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935263" y="-5113780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31237" y="414713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was eine NFC-Schnittstelle ist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Technische Prüfung und Mitteilung, ob das Smartphone eine NFC-Schnittstelle besitzt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280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9365" y="-5383336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03845" y="4501948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haben eine deaktivierte Online-Ausweisfunktio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Technische Prüfung und Mitteilung, ob die Online-Ausweisfunktion freigeschaltet ist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423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AABFC5E8-4944-45A9-8EAB-B14B736248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72162" y="6931072"/>
            <a:ext cx="7580261" cy="758026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CBB3C12-BD4B-4E91-B7D0-8281CBC084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68079" y="-7540667"/>
            <a:ext cx="7467595" cy="7467595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C394424-BE23-4123-AAC9-57F733F8DFF0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8FFD12F-12AB-480A-8657-F1C3B52CC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7D56131-074E-46DF-B45C-25218E5ECBE6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EB117B4-7C4F-48CF-BB19-F7B2309BE1ED}"/>
              </a:ext>
            </a:extLst>
          </p:cNvPr>
          <p:cNvGrpSpPr/>
          <p:nvPr/>
        </p:nvGrpSpPr>
        <p:grpSpPr>
          <a:xfrm>
            <a:off x="8105775" y="1674317"/>
            <a:ext cx="2106575" cy="4136146"/>
            <a:chOff x="8105775" y="1674317"/>
            <a:chExt cx="2106575" cy="4136146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EDD386A8-CB14-4112-B9AE-FB5AF9FD1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05775" y="1674317"/>
              <a:ext cx="2106575" cy="4136146"/>
            </a:xfrm>
            <a:prstGeom prst="rect">
              <a:avLst/>
            </a:prstGeom>
          </p:spPr>
        </p:pic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11E1F4C1-8704-4311-BE4C-5BF6BDDEA8DE}"/>
                </a:ext>
              </a:extLst>
            </p:cNvPr>
            <p:cNvSpPr/>
            <p:nvPr/>
          </p:nvSpPr>
          <p:spPr>
            <a:xfrm>
              <a:off x="8853055" y="3841668"/>
              <a:ext cx="540327" cy="100940"/>
            </a:xfrm>
            <a:prstGeom prst="rect">
              <a:avLst/>
            </a:prstGeom>
            <a:solidFill>
              <a:srgbClr val="5489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4770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DF583AC-18E3-45C1-AF06-CA53498349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580261" y="3648327"/>
            <a:ext cx="7580261" cy="75802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317CAE7-DB49-483A-8D50-6E67D2142D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3643934"/>
            <a:ext cx="7467595" cy="74675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78EC520-577E-4BCF-BBE0-81BEAD3097B1}"/>
              </a:ext>
            </a:extLst>
          </p:cNvPr>
          <p:cNvGrpSpPr/>
          <p:nvPr/>
        </p:nvGrpSpPr>
        <p:grpSpPr>
          <a:xfrm>
            <a:off x="2048781" y="1047538"/>
            <a:ext cx="8094438" cy="4762924"/>
            <a:chOff x="2048781" y="1047538"/>
            <a:chExt cx="8094438" cy="47629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202EC53-AEF7-4849-89BA-B7B1598F6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C385434-16D6-41F7-A5DE-611D4151C1EC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7898255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7D2D026-762C-4B1A-90A6-6CFAC274CE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580261" y="1399519"/>
            <a:ext cx="7580261" cy="75802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AE0192B-D706-4ED6-959B-AD13F78592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1767292"/>
            <a:ext cx="7467595" cy="74675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531569D-D4B4-4A51-9946-38B2BF72A30C}"/>
              </a:ext>
            </a:extLst>
          </p:cNvPr>
          <p:cNvGrpSpPr/>
          <p:nvPr/>
        </p:nvGrpSpPr>
        <p:grpSpPr>
          <a:xfrm>
            <a:off x="2048780" y="1047537"/>
            <a:ext cx="8094440" cy="4762926"/>
            <a:chOff x="2048780" y="1047537"/>
            <a:chExt cx="8094440" cy="4762926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5FE19CB-4C58-4EF2-A7F9-5BDFD2D12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0" y="1047537"/>
              <a:ext cx="8094440" cy="4762926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286AA738-EF8D-4F03-9E74-4EA41DB319EF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6835221"/>
      </p:ext>
    </p:extLst>
  </p:cSld>
  <p:clrMapOvr>
    <a:masterClrMapping/>
  </p:clrMapOvr>
  <p:transition spd="slow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1687" y="3976741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358462" y="-2835127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Einleitung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3 Schritte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Smartphone oder Kartenleser einricht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Ausweis ausles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IN einrichten</a:t>
            </a:r>
            <a:endParaRPr lang="de-DE" sz="2400" dirty="0"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773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10ED6E1-54DA-4BAB-98A2-2740064B3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828181" y="-361132"/>
            <a:ext cx="7580261" cy="758026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5826114-1977-43E5-A9B4-B326608131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65001" y="-2442019"/>
            <a:ext cx="7467595" cy="74675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EF921E0-4146-44BA-9CD2-9F194623490D}"/>
              </a:ext>
            </a:extLst>
          </p:cNvPr>
          <p:cNvSpPr txBox="1"/>
          <p:nvPr/>
        </p:nvSpPr>
        <p:spPr>
          <a:xfrm>
            <a:off x="1901687" y="4981252"/>
            <a:ext cx="8388626" cy="1137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Veröffentlicht im März 2025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Vereinfacht Ersteinrichtung des Online-Ausweises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7CB6A4F-E778-4E78-842A-8872F4E1E241}"/>
              </a:ext>
            </a:extLst>
          </p:cNvPr>
          <p:cNvGrpSpPr/>
          <p:nvPr/>
        </p:nvGrpSpPr>
        <p:grpSpPr>
          <a:xfrm>
            <a:off x="2826399" y="960711"/>
            <a:ext cx="6613353" cy="3891425"/>
            <a:chOff x="2048781" y="1047538"/>
            <a:chExt cx="8094438" cy="4762924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1354FBC3-3E06-40EF-8C0C-14D9A84E1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8"/>
              <a:ext cx="8094438" cy="4762924"/>
            </a:xfrm>
            <a:prstGeom prst="rect">
              <a:avLst/>
            </a:prstGeom>
          </p:spPr>
        </p:pic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942987FC-7EE0-4D34-90B0-4552C7687B35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20" name="Grafik 19">
            <a:extLst>
              <a:ext uri="{FF2B5EF4-FFF2-40B4-BE49-F238E27FC236}">
                <a16:creationId xmlns:a16="http://schemas.microsoft.com/office/drawing/2014/main" id="{02A3D7C5-65AB-4CAC-B94C-8E13C7BC0C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2248" y="1601921"/>
            <a:ext cx="1721122" cy="337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82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00122" y="5136070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8993" y="-542225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kennen ihre PIN nicht und wissen auch nicht, ob sie mal eine gesetzt oder erhalten habe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Erklärung der unterschiedlichen PIN-Arten und weiterführende Hilfe bei vergessener PI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0923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832111" y="4956456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89795" y="-5903946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dass sie die Transport-PIN per Brief erhielten und diese ändern müssen, um den Online-Ausweis nutzen zu können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Begleitung durch die Transport-PIN-Änderung und weiterführende Hilfe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0568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CD4CAD3-8B5B-45B8-B9EE-A76FD7379E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467595" y="3013356"/>
            <a:ext cx="7467595" cy="746759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F2B5E6-C328-4E13-A7C0-7DD9CA76DE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4238432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141FB0D-8F1D-441F-95E3-8E0DC50F7D1C}"/>
              </a:ext>
            </a:extLst>
          </p:cNvPr>
          <p:cNvGrpSpPr/>
          <p:nvPr/>
        </p:nvGrpSpPr>
        <p:grpSpPr>
          <a:xfrm>
            <a:off x="2048780" y="1047537"/>
            <a:ext cx="8094440" cy="4762926"/>
            <a:chOff x="2048780" y="1047537"/>
            <a:chExt cx="8094440" cy="4762926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171DBC2-13CB-4773-8F29-C7EC660CF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0" y="1047537"/>
              <a:ext cx="8094440" cy="4762926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6E14097-327A-49D9-986C-628993E97993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519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1AA6A66-82F4-4591-992B-54EA450D3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467595" y="1047538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A28BF09-1DC1-47ED-A38D-D26C356117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-1903446"/>
            <a:ext cx="7580261" cy="7580261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CC826C9-8BD3-412A-9A28-9B8A6F743240}"/>
              </a:ext>
            </a:extLst>
          </p:cNvPr>
          <p:cNvGrpSpPr/>
          <p:nvPr/>
        </p:nvGrpSpPr>
        <p:grpSpPr>
          <a:xfrm>
            <a:off x="2048781" y="1047536"/>
            <a:ext cx="8094438" cy="4762925"/>
            <a:chOff x="2048781" y="1047536"/>
            <a:chExt cx="8094438" cy="4762925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32EB84D5-6283-4D93-90D3-23D2DEC62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1" y="1047536"/>
              <a:ext cx="8094438" cy="4762925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8D5E1CC-F3AA-4C09-ADD2-B2EA4DFF93B9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363176-C53D-4D45-BE92-C31C5D9606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775" y="1674317"/>
            <a:ext cx="2106574" cy="4136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02440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8CEC1C8-95FE-43C3-9818-6509B8D37A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467595" y="-2221648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B4B7D66-9829-464A-96BF-A9EA7C8B9D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92000" y="586661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6712926-FD01-40EE-8D10-535FA6DF6A0B}"/>
              </a:ext>
            </a:extLst>
          </p:cNvPr>
          <p:cNvGrpSpPr/>
          <p:nvPr/>
        </p:nvGrpSpPr>
        <p:grpSpPr>
          <a:xfrm>
            <a:off x="2048780" y="1047536"/>
            <a:ext cx="8094442" cy="4762927"/>
            <a:chOff x="2048780" y="1047536"/>
            <a:chExt cx="8094442" cy="4762927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E4C0BDC-D7A5-49B6-844A-707D8A8779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0" y="1047536"/>
              <a:ext cx="8094442" cy="4762927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2A293779-436A-4987-9C85-91CF8984A2CA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3362453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56188" y="-427285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22217" y="373617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Einleitung</a:t>
            </a:r>
          </a:p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3 Schritte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Smartphone oder Kartenleser einricht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Ausweis auslesen</a:t>
            </a:r>
          </a:p>
          <a:p>
            <a:pPr marL="1371600" lvl="2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latin typeface="BundesSans Medium" panose="020B0002030500000203" pitchFamily="34" charset="0"/>
              </a:rPr>
              <a:t>PIN einrichten</a:t>
            </a:r>
          </a:p>
          <a:p>
            <a:pPr lvl="1">
              <a:lnSpc>
                <a:spcPct val="150000"/>
              </a:lnSpc>
            </a:pPr>
            <a:r>
              <a:rPr lang="de-DE" sz="2400" b="1" i="1" dirty="0">
                <a:solidFill>
                  <a:srgbClr val="335020"/>
                </a:solidFill>
                <a:latin typeface="BundesSans Medium" panose="020B0002030500000203" pitchFamily="34" charset="0"/>
              </a:rPr>
              <a:t>(Optional) Ausweis-Daten einsehen als Übung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Abschluss</a:t>
            </a:r>
            <a:endParaRPr lang="de-DE" sz="2400" dirty="0"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9996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21" y="-5482464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276" y="4841475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Problem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wissen nicht, dass die Nutzung der Online-Ausweisfunktion auf der Webseite des Diensteanbieters statt in der AusweisApp beginnt.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effectLst/>
                <a:latin typeface="BundesSans Medium" panose="020B0002030500000203" pitchFamily="34" charset="0"/>
              </a:rPr>
              <a:t>Lösung</a:t>
            </a:r>
            <a:endParaRPr lang="de-DE" sz="2400" dirty="0">
              <a:effectLst/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Erklärung und Weiterleitung an die Anbieterliste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8820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C2595EA-4E63-42D2-85C3-E3164E6C4C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0221" y="-7467595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35FA42B-7E1F-4DCE-BFEC-9C3167DA2B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958689" y="6858000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0D53F17-CA01-4CC2-9B83-BBEBAC67B0F2}"/>
              </a:ext>
            </a:extLst>
          </p:cNvPr>
          <p:cNvGrpSpPr/>
          <p:nvPr/>
        </p:nvGrpSpPr>
        <p:grpSpPr>
          <a:xfrm>
            <a:off x="2048780" y="1047537"/>
            <a:ext cx="8094440" cy="4762926"/>
            <a:chOff x="2048780" y="1047537"/>
            <a:chExt cx="8094440" cy="4762926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EF28F5C-D8CA-47E4-9E51-437D5C1F7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0" y="1047537"/>
              <a:ext cx="8094440" cy="4762926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6E5B9AE-55AE-4CD9-9E88-6A9A0729649C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1662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A725ECC-7B94-44CF-A912-383488F55A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192000" y="-4769954"/>
            <a:ext cx="7467595" cy="74675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8504D98-0D0B-4570-95E5-7343339889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7580261" y="3770107"/>
            <a:ext cx="7580261" cy="75802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6BEB0D-A55A-40F4-B027-7DDD0C6AA9A9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msetzung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FD94574-3EE4-4911-A285-22169D0099A1}"/>
              </a:ext>
            </a:extLst>
          </p:cNvPr>
          <p:cNvGrpSpPr/>
          <p:nvPr/>
        </p:nvGrpSpPr>
        <p:grpSpPr>
          <a:xfrm>
            <a:off x="2048780" y="1047537"/>
            <a:ext cx="8094440" cy="4762926"/>
            <a:chOff x="2048780" y="1047537"/>
            <a:chExt cx="8094440" cy="4762926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7EA1050-6778-44F8-9D5D-A616795F5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8780" y="1047537"/>
              <a:ext cx="8094440" cy="4762926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07EA5F4-E590-47AE-B469-FCAB2CAA3A92}"/>
                </a:ext>
              </a:extLst>
            </p:cNvPr>
            <p:cNvSpPr/>
            <p:nvPr/>
          </p:nvSpPr>
          <p:spPr>
            <a:xfrm>
              <a:off x="5804747" y="5120640"/>
              <a:ext cx="575733" cy="250614"/>
            </a:xfrm>
            <a:prstGeom prst="rect">
              <a:avLst/>
            </a:prstGeom>
            <a:gradFill>
              <a:gsLst>
                <a:gs pos="0">
                  <a:srgbClr val="383838"/>
                </a:gs>
                <a:gs pos="100000">
                  <a:srgbClr val="32323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BundesSans Medium" panose="020B0002030500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1877388"/>
      </p:ext>
    </p:extLst>
  </p:cSld>
  <p:clrMapOvr>
    <a:masterClrMapping/>
  </p:clrMapOvr>
  <p:transition spd="slow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081274" y="-426447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38130" y="-1862355"/>
            <a:ext cx="7467595" cy="746759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799B30B-FC17-43A8-ABB7-58CEA3514008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Mehrwer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3072878-12E0-49EE-AFC9-29492FC46F3A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:</a:t>
            </a:r>
          </a:p>
        </p:txBody>
      </p:sp>
    </p:spTree>
    <p:extLst>
      <p:ext uri="{BB962C8B-B14F-4D97-AF65-F5344CB8AC3E}">
        <p14:creationId xmlns:p14="http://schemas.microsoft.com/office/powerpoint/2010/main" val="1193748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72533" y="-1816126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7800" y="937995"/>
            <a:ext cx="7467595" cy="746759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CEC522D-8364-4B31-AF88-42EC8D6F758F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rum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DB1FBB7-ECB8-4CEB-B523-36429248730B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:</a:t>
            </a:r>
          </a:p>
        </p:txBody>
      </p:sp>
    </p:spTree>
    <p:extLst>
      <p:ext uri="{BB962C8B-B14F-4D97-AF65-F5344CB8AC3E}">
        <p14:creationId xmlns:p14="http://schemas.microsoft.com/office/powerpoint/2010/main" val="3038162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27494" y="-187044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893099" y="-3691425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Für Nutzende</a:t>
            </a:r>
            <a:endParaRPr lang="de-DE" sz="2400" dirty="0"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Reduzierung des „</a:t>
            </a:r>
            <a:r>
              <a:rPr lang="de-DE" sz="2400" dirty="0" err="1">
                <a:latin typeface="BundesSans Medium" panose="020B0002030500000203" pitchFamily="34" charset="0"/>
              </a:rPr>
              <a:t>Cognitive</a:t>
            </a:r>
            <a:r>
              <a:rPr lang="de-DE" sz="2400" dirty="0">
                <a:latin typeface="BundesSans Medium" panose="020B0002030500000203" pitchFamily="34" charset="0"/>
              </a:rPr>
              <a:t> Loads“ durch sinnvolle Begleitung und Abnahme von Aufgaben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Schnelleres Verstehen sowie (Kennen-)Lernen von Funktionalitäten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Vermeidung von Frust oder Verwirrung während der (erstmaligen) Nutzung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Mehrwer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846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1880" y="404078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094256" y="-443954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Für die AusweisApp und für Diensteanbieter</a:t>
            </a:r>
            <a:endParaRPr lang="de-DE" sz="2400" dirty="0"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Steigerung der Nutzerzufriedenheit durch positiven Erstkontakt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Höhere Wahrscheinlichkeit, dass </a:t>
            </a: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die Software erneut nutzen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ffectLst/>
                <a:latin typeface="BundesSans Medium" panose="020B0002030500000203" pitchFamily="34" charset="0"/>
              </a:rPr>
              <a:t>Geringere Wahrscheinlichkeit, dass </a:t>
            </a:r>
            <a:r>
              <a:rPr lang="de-DE" sz="2400" dirty="0">
                <a:latin typeface="BundesSans Medium" panose="020B0002030500000203" pitchFamily="34" charset="0"/>
              </a:rPr>
              <a:t>Nutzende </a:t>
            </a:r>
            <a:r>
              <a:rPr lang="de-DE" sz="2400" dirty="0">
                <a:effectLst/>
                <a:latin typeface="BundesSans Medium" panose="020B0002030500000203" pitchFamily="34" charset="0"/>
              </a:rPr>
              <a:t>einen (umfangreichen) Support benötige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Mehrwer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614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2141" y="-5471974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15315" y="4652745"/>
            <a:ext cx="7467595" cy="746759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D7881D3-C143-4030-B532-95F7270327E2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terstützung erhal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2A46BB9-5B2C-4E83-9BAB-E46A6395EA38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Support:</a:t>
            </a:r>
          </a:p>
        </p:txBody>
      </p:sp>
    </p:spTree>
    <p:extLst>
      <p:ext uri="{BB962C8B-B14F-4D97-AF65-F5344CB8AC3E}">
        <p14:creationId xmlns:p14="http://schemas.microsoft.com/office/powerpoint/2010/main" val="2283967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D2D31E8C-EA89-48A8-8C55-36AF0766BD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8769" y="-6060630"/>
            <a:ext cx="7580261" cy="758026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4EED751-7E6F-4A91-BB55-C5897D5050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2202" y="5346709"/>
            <a:ext cx="7467595" cy="746759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7728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terstützung erhal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9EAD746-ACE4-4E39-93A1-36759C6DA9D6}"/>
              </a:ext>
            </a:extLst>
          </p:cNvPr>
          <p:cNvSpPr txBox="1"/>
          <p:nvPr/>
        </p:nvSpPr>
        <p:spPr>
          <a:xfrm>
            <a:off x="1901687" y="2084259"/>
            <a:ext cx="8388626" cy="4467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AusweisApp Support </a:t>
            </a:r>
            <a: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ausweisapp.de</a:t>
            </a:r>
            <a: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</a:rPr>
              <a:t> </a:t>
            </a:r>
            <a:b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</a:rPr>
            </a:br>
            <a:r>
              <a:rPr lang="de-DE" sz="2400" dirty="0">
                <a:latin typeface="BundesSans Medium" panose="020B0002030500000203" pitchFamily="34" charset="0"/>
              </a:rPr>
              <a:t>oder Hotline </a:t>
            </a:r>
            <a:r>
              <a:rPr lang="de-DE" sz="2400" b="1" dirty="0">
                <a:latin typeface="BundesSans Medium" panose="020B0002030500000203" pitchFamily="34" charset="0"/>
              </a:rPr>
              <a:t>0421 / 204 95 – 995 </a:t>
            </a:r>
            <a:r>
              <a:rPr lang="de-DE" sz="2400" dirty="0">
                <a:latin typeface="BundesSans Medium" panose="020B0002030500000203" pitchFamily="34" charset="0"/>
              </a:rPr>
              <a:t>(Ortstarif) für 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utzende 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Diensteanbieter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Entwicklung</a:t>
            </a:r>
          </a:p>
          <a:p>
            <a:pPr lvl="1">
              <a:lnSpc>
                <a:spcPct val="150000"/>
              </a:lnSpc>
            </a:pPr>
            <a:r>
              <a:rPr lang="de-DE" sz="2400" dirty="0">
                <a:latin typeface="BundesSans Medium" panose="020B0002030500000203" pitchFamily="34" charset="0"/>
              </a:rPr>
              <a:t>Fragen zur Sicherheit der Online-Ausweisfunktion </a:t>
            </a:r>
            <a:br>
              <a:rPr lang="de-DE" sz="2400" dirty="0">
                <a:latin typeface="BundesSans Medium" panose="020B0002030500000203" pitchFamily="34" charset="0"/>
              </a:rPr>
            </a:br>
            <a: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-center@bsi.bund.de</a:t>
            </a:r>
            <a: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</a:rPr>
              <a:t> 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400" dirty="0">
              <a:latin typeface="BundesSans Medium" panose="020B0002030500000203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9733ADE-3312-48ED-B0FF-A7E8E7FD4C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11" y="3148702"/>
            <a:ext cx="1845573" cy="184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196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BDA9BD4-62D3-4D51-ABBD-08687EA3E0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71440" y="-4890279"/>
            <a:ext cx="7580261" cy="758026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6537DE-5BCB-4608-9838-51BD475534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156605" y="5052794"/>
            <a:ext cx="7467595" cy="746759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7728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terstützung erhal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9EAD746-ACE4-4E39-93A1-36759C6DA9D6}"/>
              </a:ext>
            </a:extLst>
          </p:cNvPr>
          <p:cNvSpPr txBox="1"/>
          <p:nvPr/>
        </p:nvSpPr>
        <p:spPr>
          <a:xfrm>
            <a:off x="1901687" y="2084259"/>
            <a:ext cx="8388626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Dinge, bei denen der AusweisApp Support helfen kan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Finden/Installieren/Aktualisieren der AusweisApp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Unterstützte Geräte/Betriebssysteme für die AusweisApp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Verbinden von Kartenlesern, Kopplung mit Smartphones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Ändern der PIN mit der AusweisApp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Hilfe bei den Einstellungen in der AusweisApp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Integration des SDK (Entwickler)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Technischer Aufruf der AusweisApp (Diensteanbieter)</a:t>
            </a:r>
          </a:p>
        </p:txBody>
      </p:sp>
    </p:spTree>
    <p:extLst>
      <p:ext uri="{BB962C8B-B14F-4D97-AF65-F5344CB8AC3E}">
        <p14:creationId xmlns:p14="http://schemas.microsoft.com/office/powerpoint/2010/main" val="1981702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9345089-7A3D-43C9-95C1-C23DDF3D0B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5218" y="-2685922"/>
            <a:ext cx="7580261" cy="758026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46A876F-D173-4066-9327-E5E8D7E21B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324348" y="3305637"/>
            <a:ext cx="7467595" cy="746759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7728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terstützung erhal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9EAD746-ACE4-4E39-93A1-36759C6DA9D6}"/>
              </a:ext>
            </a:extLst>
          </p:cNvPr>
          <p:cNvSpPr txBox="1"/>
          <p:nvPr/>
        </p:nvSpPr>
        <p:spPr>
          <a:xfrm>
            <a:off x="1901687" y="2084259"/>
            <a:ext cx="838862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Dinge, bei denen der AusweisApp Support </a:t>
            </a:r>
            <a:r>
              <a:rPr lang="de-DE" sz="2400" b="1" dirty="0">
                <a:solidFill>
                  <a:srgbClr val="FF0000"/>
                </a:solidFill>
                <a:latin typeface="BundesSans Medium" panose="020B0002030500000203" pitchFamily="34" charset="0"/>
              </a:rPr>
              <a:t>nicht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helfen kan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Aktivieren der Online-Ausweisfunktio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eusetzen einer vergessenen/verlorenen/gesperrten PI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Abgelaufener/gesperrter/defekter Ausweis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Probleme beim Erstellen/Nutzen der Bund ID</a:t>
            </a:r>
          </a:p>
          <a:p>
            <a:pPr marL="800100" lvl="1" indent="-342900">
              <a:spcBef>
                <a:spcPts val="1200"/>
              </a:spcBef>
              <a:buFont typeface="Wingdings" panose="05000000000000000000" pitchFamily="2" charset="2"/>
              <a:buChar char="è"/>
            </a:pP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</a:rPr>
              <a:t>Zuständige Ausweisbehörde/Bürgeramt</a:t>
            </a:r>
          </a:p>
          <a:p>
            <a:pPr marL="800100" lvl="1" indent="-342900">
              <a:spcBef>
                <a:spcPts val="1200"/>
              </a:spcBef>
              <a:buFont typeface="Wingdings" panose="05000000000000000000" pitchFamily="2" charset="2"/>
              <a:buChar char="è"/>
            </a:pP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</a:rPr>
              <a:t>First-Level Support eID des BMI (jetzt BMDS)</a:t>
            </a:r>
            <a:b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</a:rPr>
            </a:br>
            <a:endParaRPr lang="de-DE" sz="2400" dirty="0">
              <a:latin typeface="BundesSans Medium" panose="020B0002030500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26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B3CD67A-58B4-4595-80F0-092AE73157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06276" y="662616"/>
            <a:ext cx="7580261" cy="758026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E927227-4B5C-4D57-B3A5-FF048A8D70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239226" y="-188677"/>
            <a:ext cx="7467595" cy="746759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7728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Unterstützung erhal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F42C62-60B8-44A2-A54F-6D291457D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9EAD746-ACE4-4E39-93A1-36759C6DA9D6}"/>
              </a:ext>
            </a:extLst>
          </p:cNvPr>
          <p:cNvSpPr txBox="1"/>
          <p:nvPr/>
        </p:nvSpPr>
        <p:spPr>
          <a:xfrm>
            <a:off x="1901687" y="2084259"/>
            <a:ext cx="8388626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Dinge, bei denen der AusweisApp Support </a:t>
            </a:r>
            <a:r>
              <a:rPr lang="de-DE" sz="2400" b="1" dirty="0">
                <a:solidFill>
                  <a:srgbClr val="FF0000"/>
                </a:solidFill>
                <a:latin typeface="BundesSans Medium" panose="020B0002030500000203" pitchFamily="34" charset="0"/>
              </a:rPr>
              <a:t>nicht</a:t>
            </a: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 helfen kan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Online-Dienste bieten eID nicht a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Störungen/Ausfälle/Überlastung bei Online-Dienste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Zertifikatsfehler am eID-Server/Webdienst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Fragen zum Bearbeitungsstatus eines Vorgangs</a:t>
            </a:r>
          </a:p>
          <a:p>
            <a:pPr lvl="1">
              <a:spcBef>
                <a:spcPts val="1200"/>
              </a:spcBef>
            </a:pP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</a:rPr>
              <a:t> Support des jeweiligen Diensteanbieters</a:t>
            </a:r>
            <a:br>
              <a:rPr lang="de-DE" sz="2400" dirty="0">
                <a:solidFill>
                  <a:srgbClr val="5489C2"/>
                </a:solidFill>
                <a:latin typeface="BundesSans Medium" panose="020B0002030500000203" pitchFamily="34" charset="0"/>
              </a:rPr>
            </a:br>
            <a:endParaRPr lang="de-DE" sz="2400" dirty="0">
              <a:latin typeface="BundesSans Medium" panose="020B0002030500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9448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73068" y="3590383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633106" y="-4254489"/>
            <a:ext cx="7467595" cy="746759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18BBB6F-33B3-4B8D-A3AA-43D06BA6A97D}"/>
              </a:ext>
            </a:extLst>
          </p:cNvPr>
          <p:cNvSpPr txBox="1"/>
          <p:nvPr/>
        </p:nvSpPr>
        <p:spPr>
          <a:xfrm>
            <a:off x="2634200" y="2674947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s ist Ihr Feedback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39301" y="-3733798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86477" y="3429000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768786" cy="3630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Haben Sie das neue Onboarding der AusweisApp schon bemerkt?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Haben Sie Anmerkungen oder Vorschläge?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Haben Sie einen positiven Effekt bei Ihrem Dienst bzw. Ihren Nutzerinnen und Nutzern feststellen können?</a:t>
            </a:r>
          </a:p>
          <a:p>
            <a:pPr lvl="1">
              <a:spcBef>
                <a:spcPts val="1200"/>
              </a:spcBef>
            </a:pP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</a:rPr>
              <a:t> Kontaktieren Sie uns unter: </a:t>
            </a: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  <a:hlinkClick r:id="rId6"/>
              </a:rPr>
              <a:t>webinare@ausweisapp.de</a:t>
            </a:r>
            <a:r>
              <a:rPr lang="de-DE" sz="2400" dirty="0">
                <a:latin typeface="BundesSans Medium" panose="020B0002030500000203" pitchFamily="34" charset="0"/>
                <a:sym typeface="Wingdings" panose="05000000000000000000" pitchFamily="2" charset="2"/>
              </a:rPr>
              <a:t> </a:t>
            </a:r>
            <a:endParaRPr lang="de-DE" sz="2400" dirty="0">
              <a:latin typeface="BundesSans Medium" panose="020B0002030500000203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400" dirty="0">
              <a:latin typeface="BundesSans Medium" panose="020B000203050000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s ist Ihr Feedback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8759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A6266C1-D0BC-9F1A-87D5-A67DEB402A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1" b="2931"/>
          <a:stretch/>
        </p:blipFill>
        <p:spPr>
          <a:xfrm>
            <a:off x="203200" y="437627"/>
            <a:ext cx="11785600" cy="6242573"/>
          </a:xfrm>
          <a:prstGeom prst="roundRect">
            <a:avLst>
              <a:gd name="adj" fmla="val 4265"/>
            </a:avLst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7ABEF1F-8157-C05F-CD21-BE1A2EDD7666}"/>
              </a:ext>
            </a:extLst>
          </p:cNvPr>
          <p:cNvSpPr/>
          <p:nvPr/>
        </p:nvSpPr>
        <p:spPr>
          <a:xfrm>
            <a:off x="927099" y="5213823"/>
            <a:ext cx="9494556" cy="1637355"/>
          </a:xfrm>
          <a:prstGeom prst="roundRect">
            <a:avLst>
              <a:gd name="adj" fmla="val 84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32DAAD-705C-81CB-AEBB-9FD3FD4B307C}"/>
              </a:ext>
            </a:extLst>
          </p:cNvPr>
          <p:cNvSpPr txBox="1"/>
          <p:nvPr/>
        </p:nvSpPr>
        <p:spPr>
          <a:xfrm>
            <a:off x="1069417" y="5287410"/>
            <a:ext cx="57125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5489C2"/>
                </a:solidFill>
                <a:latin typeface="BundesSans Bold" panose="020B0002030500000203" pitchFamily="34" charset="0"/>
              </a:rPr>
              <a:t>Vielen Dank </a:t>
            </a:r>
          </a:p>
          <a:p>
            <a:r>
              <a:rPr lang="de-DE" sz="4000" dirty="0">
                <a:solidFill>
                  <a:srgbClr val="5489C2"/>
                </a:solidFill>
                <a:latin typeface="BundesSans Bold" panose="020B0002030500000203" pitchFamily="34" charset="0"/>
              </a:rPr>
              <a:t>fürs Dabei sein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186FEDD-7768-3D0B-9950-1FB70D14F37B}"/>
              </a:ext>
            </a:extLst>
          </p:cNvPr>
          <p:cNvSpPr txBox="1"/>
          <p:nvPr/>
        </p:nvSpPr>
        <p:spPr>
          <a:xfrm>
            <a:off x="4852480" y="5257126"/>
            <a:ext cx="5569175" cy="1295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>
                <a:latin typeface="BundesSans Medium" panose="020B0002030500000203" pitchFamily="34" charset="0"/>
              </a:rPr>
              <a:t>https://www.bsi.bund.de</a:t>
            </a:r>
            <a:br>
              <a:rPr lang="de-DE" dirty="0">
                <a:latin typeface="BundesSans Medium" panose="020B0002030500000203" pitchFamily="34" charset="0"/>
              </a:rPr>
            </a:br>
            <a:r>
              <a:rPr lang="de-DE" dirty="0">
                <a:latin typeface="BundesSans Medium" panose="020B0002030500000203" pitchFamily="34" charset="0"/>
              </a:rPr>
              <a:t>https://www.ausweisapp.bund.de</a:t>
            </a:r>
          </a:p>
          <a:p>
            <a:pPr>
              <a:lnSpc>
                <a:spcPct val="150000"/>
              </a:lnSpc>
            </a:pPr>
            <a:r>
              <a:rPr lang="de-DE" dirty="0">
                <a:latin typeface="BundesSans Medium" panose="020B0002030500000203" pitchFamily="34" charset="0"/>
              </a:rPr>
              <a:t>https://www.personalausweisportal.de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0D7697BF-DE06-984E-A7AC-3EED12F941D7}"/>
              </a:ext>
            </a:extLst>
          </p:cNvPr>
          <p:cNvSpPr/>
          <p:nvPr/>
        </p:nvSpPr>
        <p:spPr>
          <a:xfrm>
            <a:off x="8394700" y="265670"/>
            <a:ext cx="3149600" cy="1067829"/>
          </a:xfrm>
          <a:prstGeom prst="roundRect">
            <a:avLst>
              <a:gd name="adj" fmla="val 84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44CA6E6-B40C-B77B-90E9-F0394CAD19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411" y="437627"/>
            <a:ext cx="2723989" cy="69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0658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55394" y="4197177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517541" y="-3969010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768786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AusweisApp ist oft Erstkontakt mit Online-Auswei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Unzureichende Information bei Ausweisausgabe und/oder zu lange Zeit her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Informationen von Broschüren, Webseiten, PIN-Brief oder Diensteanbieter nicht bekannt oder unvollständig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AusweisApp „einfach mal installiert“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rum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0335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36226" y="5201384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247870" y="-4687467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422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Verschiedenstes Vorwissen bei Nutzenden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Keine Kenntnis, noch nie irgendwie benutzt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Online-Ausweis bekannt und benutzt; Power User</a:t>
            </a:r>
          </a:p>
          <a:p>
            <a:pPr lvl="1">
              <a:lnSpc>
                <a:spcPct val="150000"/>
              </a:lnSpc>
            </a:pPr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Verschiedenste Situationen bei Nutzende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Online-Ausweis deaktiviert, kein PIN-Brief, vergessene PIN…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Verschiedene/Neue Geräte, neuer Ausweis…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rum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982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CA5A4AA-1974-4C24-9BC5-4CD75D859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76035" y="4216692"/>
            <a:ext cx="7467595" cy="746759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B5EB18-886D-401C-9627-1E4A94468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05869" y="-5650853"/>
            <a:ext cx="7580261" cy="758026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A12CA39-F593-4242-92F4-63617D27ED43}"/>
              </a:ext>
            </a:extLst>
          </p:cNvPr>
          <p:cNvSpPr txBox="1"/>
          <p:nvPr/>
        </p:nvSpPr>
        <p:spPr>
          <a:xfrm>
            <a:off x="1901687" y="2084259"/>
            <a:ext cx="7227595" cy="3543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de-DE" sz="2400" b="1" dirty="0">
                <a:solidFill>
                  <a:srgbClr val="335020"/>
                </a:solidFill>
                <a:latin typeface="BundesSans Medium" panose="020B0002030500000203" pitchFamily="34" charset="0"/>
              </a:rPr>
              <a:t>Herausforderung: Onboarding muss alle Nutzende gleichermaßen abholen und führe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Neue Nutzende informiere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Bestehende Nutzende nicht verwirre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latin typeface="BundesSans Medium" panose="020B0002030500000203" pitchFamily="34" charset="0"/>
              </a:rPr>
              <a:t>Ziel ist ein erfolgreich eingerichteter und nutzbarer Online-Ausweis mit dem/den jeweils gewünschten Gerät(en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2241FFE-8E85-4CBB-8208-69E2E25D9481}"/>
              </a:ext>
            </a:extLst>
          </p:cNvPr>
          <p:cNvSpPr txBox="1"/>
          <p:nvPr/>
        </p:nvSpPr>
        <p:spPr>
          <a:xfrm>
            <a:off x="418993" y="370229"/>
            <a:ext cx="878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Warum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2B48D-BFEC-4BE0-8E52-D85067393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5139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8AC8807-0A3B-4EBF-9281-6EA143725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5532" y="-4151262"/>
            <a:ext cx="7580261" cy="75802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A49E655-32B6-4D53-A58A-3846CAAD38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6848" y="2227952"/>
            <a:ext cx="7467595" cy="746759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18BBB6F-33B3-4B8D-A3AA-43D06BA6A97D}"/>
              </a:ext>
            </a:extLst>
          </p:cNvPr>
          <p:cNvSpPr txBox="1"/>
          <p:nvPr/>
        </p:nvSpPr>
        <p:spPr>
          <a:xfrm>
            <a:off x="2634200" y="2674947"/>
            <a:ext cx="77289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4600" b="1" dirty="0">
              <a:solidFill>
                <a:srgbClr val="5489C2"/>
              </a:solidFill>
              <a:latin typeface="BundesSans Bold" panose="020B0002030500000203" pitchFamily="34" charset="0"/>
              <a:ea typeface="Cambria" panose="02040503050406030204" pitchFamily="18" charset="0"/>
            </a:endParaRPr>
          </a:p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Der Designprozes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6AD47B-CF02-46F9-AC86-A25665123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348" y="6172349"/>
            <a:ext cx="1555589" cy="39474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89A70EC-A08E-4081-8C19-5BAB62E14EC1}"/>
              </a:ext>
            </a:extLst>
          </p:cNvPr>
          <p:cNvSpPr txBox="1"/>
          <p:nvPr/>
        </p:nvSpPr>
        <p:spPr>
          <a:xfrm>
            <a:off x="2634200" y="2674946"/>
            <a:ext cx="7728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600" b="1" dirty="0">
                <a:solidFill>
                  <a:srgbClr val="5489C2"/>
                </a:solidFill>
                <a:latin typeface="BundesSans Bold" panose="020B0002030500000203" pitchFamily="34" charset="0"/>
                <a:ea typeface="Cambria" panose="02040503050406030204" pitchFamily="18" charset="0"/>
              </a:rPr>
              <a:t>Onboarding:</a:t>
            </a:r>
          </a:p>
        </p:txBody>
      </p:sp>
    </p:spTree>
    <p:extLst>
      <p:ext uri="{BB962C8B-B14F-4D97-AF65-F5344CB8AC3E}">
        <p14:creationId xmlns:p14="http://schemas.microsoft.com/office/powerpoint/2010/main" val="20708179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5AQ20XO4NCsxONa/uc9hgEAAAAAAADAAAAAAADAAAAAwADAAIA////////BQAAAAMAEAAL7sHAnq9ThEiV+r5ONEXSowQAAAABAAMAAAACAAMAAAAEAAMAAAAAAP///////wQAAQD///////8FAAAABAAQAAumSPLryy2wSqjiN5kM1WFQ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vkBDbRc7g0KzE41r+5z2GANEYXRhAFMAAAAIUHJlc2VudGF0aW9uU2Nhbm5lZEZvckxpbmtlZFNoYXBlcwAAAk51bWJlckZvcm1hdFNlcGFyYXRvck1vZGUACgAAAEF1dG9tYXRpYwAAAk5hbWUAJAAAAExpbmtlZFNoYXBlUHJlc2VudGF0aW9uU2V0dGluZ3NEYXRhABBWZXJzaW9uAAAAAAAJTGFzdFdyaXRlAMCWoX6XAQAAAAEA/////4MAgwAAAAVfaWQAEAAAAATuwcCer1OESJX6vk40RdKjA0RhdGEAGwAAAARMaW5rZWRTaGFwZURhdGEABQAAAAAAAk5hbWUAGQAAAExpbmtlZFNoYXBlc0RhdGFQcm9wZXJ0eQAQVmVyc2lvbgAAAAAACUxhc3RXcml0ZQDzk6F+lwEAAAACAP////+DAIMAAAAFX2lkABAAAAAEpkjy68stsEqo4jeZDNVhUANEYXRhABsAAAAETGlua2VkU2hhcGVEYXRhAAUAAAAAAAJOYW1lABkAAABMaW5rZWRTaGFwZXNEYXRhUHJvcGVydHkAEFZlcnNpb24AAQAAAAlMYXN0V3JpdGUAcpahfp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gEDAAAABAD///////8aAAZMaW5rZWRTaGFwZXNEYXRhUHJvcGVydHlfMQQAAAACAAUAAAADAAUAAAAB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57730087653753"/>
  <p:tag name="EMPOWERCHARTSPROPERTIES_A_LENGTH" val="24576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1</Words>
  <Application>Microsoft Office PowerPoint</Application>
  <PresentationFormat>Breitbild</PresentationFormat>
  <Paragraphs>229</Paragraphs>
  <Slides>5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5" baseType="lpstr">
      <vt:lpstr>Arial</vt:lpstr>
      <vt:lpstr>BundesSans Bold</vt:lpstr>
      <vt:lpstr>BundesSans Medium</vt:lpstr>
      <vt:lpstr>Calibri</vt:lpstr>
      <vt:lpstr>Wingdings</vt:lpstr>
      <vt:lpstr>Off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ialek, Silvia</dc:creator>
  <cp:lastModifiedBy>Kunzendorf, Antonia</cp:lastModifiedBy>
  <cp:revision>218</cp:revision>
  <dcterms:created xsi:type="dcterms:W3CDTF">2025-05-12T07:12:11Z</dcterms:created>
  <dcterms:modified xsi:type="dcterms:W3CDTF">2025-09-29T10:19:21Z</dcterms:modified>
</cp:coreProperties>
</file>